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5DB-4EAB-95EB-6A45D97F5FE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5DB-4EAB-95EB-6A45D97F5FE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5DB-4EAB-95EB-6A45D97F5FE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5DB-4EAB-95EB-6A45D97F5FE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75DB-4EAB-95EB-6A45D97F5FE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5DB-4EAB-95EB-6A45D97F5FE9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75DB-4EAB-95EB-6A45D97F5FE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5DB-4EAB-95EB-6A45D97F5FE9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75DB-4EAB-95EB-6A45D97F5FE9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5DB-4EAB-95EB-6A45D97F5FE9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75DB-4EAB-95EB-6A45D97F5FE9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75DB-4EAB-95EB-6A45D97F5FE9}"/>
              </c:ext>
            </c:extLst>
          </c:dPt>
          <c:dLbls>
            <c:spPr>
              <a:noFill/>
              <a:ln>
                <a:noFill/>
              </a:ln>
            </c:spPr>
            <c:txPr>
              <a:bodyPr rot="0" vert="horz"/>
              <a:lstStyle/>
              <a:p>
                <a:pPr>
                  <a:defRPr>
                    <a:latin typeface="+mn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December</c:v>
                </c:pt>
                <c:pt idx="1">
                  <c:v>November</c:v>
                </c:pt>
                <c:pt idx="2">
                  <c:v>October</c:v>
                </c:pt>
                <c:pt idx="3">
                  <c:v>September</c:v>
                </c:pt>
                <c:pt idx="4">
                  <c:v>August</c:v>
                </c:pt>
                <c:pt idx="5">
                  <c:v>July</c:v>
                </c:pt>
                <c:pt idx="6">
                  <c:v>June</c:v>
                </c:pt>
                <c:pt idx="7">
                  <c:v>May</c:v>
                </c:pt>
                <c:pt idx="8">
                  <c:v>April</c:v>
                </c:pt>
                <c:pt idx="9">
                  <c:v>March</c:v>
                </c:pt>
                <c:pt idx="10">
                  <c:v>February</c:v>
                </c:pt>
                <c:pt idx="11">
                  <c:v>January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25</c:v>
                </c:pt>
                <c:pt idx="1">
                  <c:v>0.36</c:v>
                </c:pt>
                <c:pt idx="2">
                  <c:v>0.85</c:v>
                </c:pt>
                <c:pt idx="3">
                  <c:v>0.41</c:v>
                </c:pt>
                <c:pt idx="4">
                  <c:v>0.62</c:v>
                </c:pt>
                <c:pt idx="5">
                  <c:v>0.75</c:v>
                </c:pt>
                <c:pt idx="6">
                  <c:v>0.46</c:v>
                </c:pt>
                <c:pt idx="7">
                  <c:v>0.55000000000000004</c:v>
                </c:pt>
                <c:pt idx="8">
                  <c:v>0.2</c:v>
                </c:pt>
                <c:pt idx="9">
                  <c:v>0.15</c:v>
                </c:pt>
                <c:pt idx="10">
                  <c:v>0.3</c:v>
                </c:pt>
                <c:pt idx="1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5DB-4EAB-95EB-6A45D97F5F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axId val="484980879"/>
        <c:axId val="461215631"/>
      </c:barChart>
      <c:catAx>
        <c:axId val="4849808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60000000" vert="horz"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461215631"/>
        <c:crosses val="autoZero"/>
        <c:auto val="1"/>
        <c:lblAlgn val="ctr"/>
        <c:lblOffset val="100"/>
        <c:noMultiLvlLbl val="0"/>
      </c:catAx>
      <c:valAx>
        <c:axId val="461215631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60000000" vert="horz"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484980879"/>
        <c:crosses val="autoZero"/>
        <c:crossBetween val="between"/>
      </c:valAx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txPr>
    <a:bodyPr/>
    <a:lstStyle/>
    <a:p>
      <a:pPr>
        <a:defRPr sz="11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39EF1F-1AD2-EBE4-51CB-8560B7893A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CF5C030-2E72-1E89-89AF-FA4D460F11C9}"/>
              </a:ext>
            </a:extLst>
          </p:cNvPr>
          <p:cNvSpPr/>
          <p:nvPr/>
        </p:nvSpPr>
        <p:spPr bwMode="gray">
          <a:xfrm>
            <a:off x="8660502" y="1200033"/>
            <a:ext cx="2857064" cy="4557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329" dirty="0">
              <a:solidFill>
                <a:srgbClr val="FFFFFF"/>
              </a:solidFill>
            </a:endParaRPr>
          </a:p>
        </p:txBody>
      </p:sp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2B32CD4-FB58-3E6C-BB55-27E7110219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B32CD4-FB58-3E6C-BB55-27E711021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6B5E3F-1C98-5E0F-7B1F-77BE21952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FC36F1F-A03D-E7EE-9C1A-C895F4DB037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DB93DB2-B946-4A43-DA6C-02C2EA69C865}"/>
              </a:ext>
            </a:extLst>
          </p:cNvPr>
          <p:cNvGraphicFramePr/>
          <p:nvPr/>
        </p:nvGraphicFramePr>
        <p:xfrm>
          <a:off x="372731" y="1200033"/>
          <a:ext cx="7877801" cy="455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0FAAAF8-B7A1-33FF-8049-118A3215CDD3}"/>
              </a:ext>
            </a:extLst>
          </p:cNvPr>
          <p:cNvSpPr txBox="1"/>
          <p:nvPr/>
        </p:nvSpPr>
        <p:spPr bwMode="gray">
          <a:xfrm>
            <a:off x="8830387" y="1375376"/>
            <a:ext cx="2517292" cy="2365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b="1" noProof="1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E4B608-C9CB-53D5-DBF0-2B2A8A62A8B3}"/>
              </a:ext>
            </a:extLst>
          </p:cNvPr>
          <p:cNvSpPr txBox="1"/>
          <p:nvPr/>
        </p:nvSpPr>
        <p:spPr bwMode="gray">
          <a:xfrm>
            <a:off x="8830387" y="1665403"/>
            <a:ext cx="2517292" cy="2365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37" noProof="1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1939487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1</TotalTime>
  <Words>6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40</cp:revision>
  <dcterms:created xsi:type="dcterms:W3CDTF">2021-03-31T02:49:57Z</dcterms:created>
  <dcterms:modified xsi:type="dcterms:W3CDTF">2025-10-15T03:45:50Z</dcterms:modified>
  <cp:category/>
</cp:coreProperties>
</file>